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62"/>
  </p:notesMasterIdLst>
  <p:sldIdLst>
    <p:sldId id="578" r:id="rId15"/>
    <p:sldId id="579" r:id="rId16"/>
    <p:sldId id="559" r:id="rId17"/>
    <p:sldId id="494" r:id="rId18"/>
    <p:sldId id="560" r:id="rId19"/>
    <p:sldId id="489" r:id="rId20"/>
    <p:sldId id="582" r:id="rId21"/>
    <p:sldId id="574" r:id="rId22"/>
    <p:sldId id="581" r:id="rId23"/>
    <p:sldId id="516" r:id="rId24"/>
    <p:sldId id="555" r:id="rId25"/>
    <p:sldId id="584" r:id="rId26"/>
    <p:sldId id="585" r:id="rId27"/>
    <p:sldId id="586" r:id="rId28"/>
    <p:sldId id="587" r:id="rId29"/>
    <p:sldId id="598" r:id="rId30"/>
    <p:sldId id="588" r:id="rId31"/>
    <p:sldId id="599" r:id="rId32"/>
    <p:sldId id="590" r:id="rId33"/>
    <p:sldId id="591" r:id="rId34"/>
    <p:sldId id="592" r:id="rId35"/>
    <p:sldId id="596" r:id="rId36"/>
    <p:sldId id="597" r:id="rId37"/>
    <p:sldId id="496" r:id="rId38"/>
    <p:sldId id="569" r:id="rId39"/>
    <p:sldId id="570" r:id="rId40"/>
    <p:sldId id="571" r:id="rId41"/>
    <p:sldId id="517" r:id="rId42"/>
    <p:sldId id="545" r:id="rId43"/>
    <p:sldId id="541" r:id="rId44"/>
    <p:sldId id="542" r:id="rId45"/>
    <p:sldId id="565" r:id="rId46"/>
    <p:sldId id="449" r:id="rId47"/>
    <p:sldId id="492" r:id="rId48"/>
    <p:sldId id="572" r:id="rId49"/>
    <p:sldId id="573" r:id="rId50"/>
    <p:sldId id="567" r:id="rId51"/>
    <p:sldId id="566" r:id="rId52"/>
    <p:sldId id="446" r:id="rId53"/>
    <p:sldId id="547" r:id="rId54"/>
    <p:sldId id="580" r:id="rId55"/>
    <p:sldId id="549" r:id="rId56"/>
    <p:sldId id="551" r:id="rId57"/>
    <p:sldId id="552" r:id="rId58"/>
    <p:sldId id="557" r:id="rId59"/>
    <p:sldId id="583" r:id="rId60"/>
    <p:sldId id="396" r:id="rId61"/>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Getting Started" id="{2BCC7628-A617-4EDF-8099-41DA44B15764}">
          <p14:sldIdLst>
            <p14:sldId id="496"/>
            <p14:sldId id="569"/>
            <p14:sldId id="570"/>
            <p14:sldId id="571"/>
            <p14:sldId id="517"/>
            <p14:sldId id="545"/>
            <p14:sldId id="541"/>
            <p14:sldId id="542"/>
          </p14:sldIdLst>
        </p14:section>
        <p14:section name="Disks and Images" id="{5100A5C3-809E-4170-9815-AC89F71C75D7}">
          <p14:sldIdLst>
            <p14:sldId id="565"/>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9" autoAdjust="0"/>
    <p:restoredTop sz="72356" autoAdjust="0"/>
  </p:normalViewPr>
  <p:slideViewPr>
    <p:cSldViewPr snapToGrid="0" snapToObjects="1">
      <p:cViewPr varScale="1">
        <p:scale>
          <a:sx n="92" d="100"/>
          <a:sy n="92" d="100"/>
        </p:scale>
        <p:origin x="1344" y="96"/>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3288"/>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3/8/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2954861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0925861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9765531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7</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1.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9.wdp"/><Relationship Id="rId2" Type="http://schemas.openxmlformats.org/officeDocument/2006/relationships/notesSlide" Target="../notesSlides/notesSlide9.xml"/><Relationship Id="rId1" Type="http://schemas.openxmlformats.org/officeDocument/2006/relationships/slideLayout" Target="../slideLayouts/slideLayout236.xml"/><Relationship Id="rId6" Type="http://schemas.openxmlformats.org/officeDocument/2006/relationships/image" Target="../media/image76.png"/><Relationship Id="rId5" Type="http://schemas.microsoft.com/office/2007/relationships/hdphoto" Target="../media/hdphoto18.wdp"/><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20.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1.xml"/><Relationship Id="rId5" Type="http://schemas.openxmlformats.org/officeDocument/2006/relationships/tags" Target="../tags/tag4.xml"/><Relationship Id="rId15" Type="http://schemas.openxmlformats.org/officeDocument/2006/relationships/image" Target="../media/image77.emf"/><Relationship Id="rId10" Type="http://schemas.openxmlformats.org/officeDocument/2006/relationships/slideLayout" Target="../slideLayouts/slideLayout23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microsoft.com/office/2007/relationships/hdphoto" Target="../media/hdphoto20.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7.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236.xml"/><Relationship Id="rId6" Type="http://schemas.microsoft.com/office/2007/relationships/hdphoto" Target="../media/hdphoto21.wdp"/><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3.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2.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notesSlide" Target="../notesSlides/notesSlide16.xml"/><Relationship Id="rId4"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8.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2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9.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36.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236.xml"/><Relationship Id="rId5" Type="http://schemas.openxmlformats.org/officeDocument/2006/relationships/image" Target="../media/image62.emf"/><Relationship Id="rId4" Type="http://schemas.microsoft.com/office/2007/relationships/hdphoto" Target="../media/hdphoto22.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3.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0.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1.xml"/><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2.xml"/><Relationship Id="rId4" Type="http://schemas.openxmlformats.org/officeDocument/2006/relationships/image" Target="../media/image8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236.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1.xml"/></Relationships>
</file>

<file path=ppt/slides/_rels/slide3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8.xml"/><Relationship Id="rId1" Type="http://schemas.openxmlformats.org/officeDocument/2006/relationships/slideLayout" Target="../slideLayouts/slideLayout236.xml"/><Relationship Id="rId4" Type="http://schemas.openxmlformats.org/officeDocument/2006/relationships/image" Target="../media/image62.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6.xml"/><Relationship Id="rId1" Type="http://schemas.openxmlformats.org/officeDocument/2006/relationships/tags" Target="../tags/tag53.xml"/><Relationship Id="rId5" Type="http://schemas.openxmlformats.org/officeDocument/2006/relationships/image" Target="../media/image62.emf"/><Relationship Id="rId4" Type="http://schemas.openxmlformats.org/officeDocument/2006/relationships/image" Target="../media/image61.emf"/></Relationships>
</file>

<file path=ppt/slides/_rels/slide3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0.xml"/><Relationship Id="rId1" Type="http://schemas.openxmlformats.org/officeDocument/2006/relationships/slideLayout" Target="../slideLayouts/slideLayout236.xml"/><Relationship Id="rId4" Type="http://schemas.openxmlformats.org/officeDocument/2006/relationships/image" Target="../media/image61.emf"/></Relationships>
</file>

<file path=ppt/slides/_rels/slide3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77.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31.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36.xml"/><Relationship Id="rId10" Type="http://schemas.openxmlformats.org/officeDocument/2006/relationships/tags" Target="../tags/tag62.xml"/><Relationship Id="rId19" Type="http://schemas.openxmlformats.org/officeDocument/2006/relationships/image" Target="../media/image88.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36.xml"/><Relationship Id="rId1" Type="http://schemas.openxmlformats.org/officeDocument/2006/relationships/tags" Target="../tags/tag67.xml"/><Relationship Id="rId4" Type="http://schemas.openxmlformats.org/officeDocument/2006/relationships/image" Target="../media/image8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1.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34.xml"/><Relationship Id="rId1" Type="http://schemas.openxmlformats.org/officeDocument/2006/relationships/slideLayout" Target="../slideLayouts/slideLayout236.xml"/><Relationship Id="rId6" Type="http://schemas.microsoft.com/office/2007/relationships/hdphoto" Target="../media/hdphoto23.wdp"/><Relationship Id="rId5" Type="http://schemas.openxmlformats.org/officeDocument/2006/relationships/image" Target="../media/image91.png"/><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upport.microsoft.com/kb/2721672"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3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73.png"/><Relationship Id="rId5" Type="http://schemas.openxmlformats.org/officeDocument/2006/relationships/image" Target="../media/image64.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a:xfrm>
            <a:off x="269233" y="2075840"/>
            <a:ext cx="10914582" cy="1801436"/>
          </a:xfrm>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3475"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697439736"/>
              </p:ext>
            </p:extLst>
          </p:nvPr>
        </p:nvGraphicFramePr>
        <p:xfrm>
          <a:off x="1168095" y="1499103"/>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3836"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8151"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2773"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3835" y="4786686"/>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8150" y="4788161"/>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6158" y="4760640"/>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7395" y="4760641"/>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7396"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6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Roles, and Instances</a:t>
            </a:r>
            <a:br>
              <a:rPr lang="en-US" sz="5400" dirty="0" smtClean="0"/>
            </a:br>
            <a:endParaRPr lang="en-US" sz="4000" dirty="0">
              <a:solidFill>
                <a:schemeClr val="tx2">
                  <a:alpha val="99000"/>
                </a:schemeClr>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0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with Virtual Machines</a:t>
            </a:r>
            <a:r>
              <a:rPr lang="en-US" sz="5400" dirty="0"/>
              <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ultiple Cloud Services Configuration</a:t>
            </a:r>
            <a:endParaRPr lang="en-US" sz="5400" dirty="0"/>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Getting Started with Virtual Machines</a:t>
            </a:r>
            <a:endParaRPr lang="en-US" dirty="0"/>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ervice Level Agreements	</a:t>
            </a:r>
            <a:endParaRPr lang="en-US" sz="5400" dirty="0"/>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a:t>
            </a:r>
            <a:r>
              <a:rPr lang="en-US" sz="1600" b="1" dirty="0" smtClean="0">
                <a:ln>
                  <a:solidFill>
                    <a:srgbClr val="FFFFFF">
                      <a:alpha val="0"/>
                    </a:srgbClr>
                  </a:solidFill>
                </a:ln>
                <a:solidFill>
                  <a:schemeClr val="tx2"/>
                </a:solidFill>
              </a:rPr>
              <a:t>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smtClean="0"/>
              <a:t>Fault and Update Domains</a:t>
            </a:r>
            <a:endParaRPr lang="en-NZ" sz="5400" dirty="0"/>
          </a:p>
        </p:txBody>
      </p:sp>
      <p:sp>
        <p:nvSpPr>
          <p:cNvPr id="3" name="Text Placeholder 2"/>
          <p:cNvSpPr>
            <a:spLocks noGrp="1"/>
          </p:cNvSpPr>
          <p:nvPr>
            <p:ph type="body" sz="quarter" idx="4294967295"/>
          </p:nvPr>
        </p:nvSpPr>
        <p:spPr>
          <a:xfrm>
            <a:off x="5100058" y="1457313"/>
            <a:ext cx="6922224" cy="4364891"/>
          </a:xfrm>
        </p:spPr>
        <p:txBody>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1443500"/>
            <a:ext cx="6945312" cy="3971001"/>
          </a:xfrm>
        </p:spPr>
        <p:txBody>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smtClean="0"/>
              <a:t>Fault and Update Domains</a:t>
            </a:r>
            <a:endParaRPr lang="en-NZ" sz="5400" dirty="0"/>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smtClean="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sz="5400" dirty="0" smtClean="0"/>
              <a:t>End to End Highly Available Solution</a:t>
            </a:r>
            <a:br>
              <a:rPr lang="en-US" sz="5400" dirty="0" smtClean="0"/>
            </a:br>
            <a:r>
              <a:rPr lang="en-US" sz="4000" dirty="0" smtClean="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t>Configuring Load Balancing and High Availability </a:t>
            </a:r>
            <a:endParaRPr lang="en-US" dirty="0"/>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VM disk 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6772"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2268" y="1169662"/>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60"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4287"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5932" y="3505180"/>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30850023"/>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5655"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5573" y="1191349"/>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07"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1151" y="2494604"/>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7081" y="380990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50671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5657" y="2819559"/>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7851" y="1339816"/>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sp>
        <p:nvSpPr>
          <p:cNvPr id="4" name="Rectangle 3"/>
          <p:cNvSpPr/>
          <p:nvPr/>
        </p:nvSpPr>
        <p:spPr bwMode="auto">
          <a:xfrm>
            <a:off x="429768" y="407653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035"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7164" y="2819559"/>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486683488"/>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Persistent Disk Management</a:t>
            </a:r>
            <a:endParaRPr lang="en-US" sz="5400" dirty="0"/>
          </a:p>
        </p:txBody>
      </p:sp>
      <p:sp>
        <p:nvSpPr>
          <p:cNvPr id="4" name="Text Placeholder 3"/>
          <p:cNvSpPr>
            <a:spLocks noGrp="1"/>
          </p:cNvSpPr>
          <p:nvPr>
            <p:ph type="body" sz="quarter" idx="4294967295"/>
          </p:nvPr>
        </p:nvSpPr>
        <p:spPr>
          <a:xfrm>
            <a:off x="556595" y="4860235"/>
            <a:ext cx="11149013" cy="1456402"/>
          </a:xfrm>
        </p:spPr>
        <p:txBody>
          <a:bodyPr/>
          <a:lstStyle/>
          <a:p>
            <a:pPr marL="460261" indent="-457086">
              <a:buFont typeface="Arial" pitchFamily="34" charset="0"/>
              <a:buChar char="•"/>
            </a:pPr>
            <a:r>
              <a:rPr lang="en-US" sz="2666" dirty="0"/>
              <a:t>C:\ = OS Disk</a:t>
            </a:r>
          </a:p>
          <a:p>
            <a:pPr marL="460261" indent="-457086">
              <a:buFont typeface="Arial" pitchFamily="34" charset="0"/>
              <a:buChar char="•"/>
            </a:pPr>
            <a:r>
              <a:rPr lang="en-US" sz="2666" dirty="0">
                <a:solidFill>
                  <a:schemeClr val="tx2"/>
                </a:solidFill>
              </a:rPr>
              <a:t>D:\ = Non-Persistent Cache Disk</a:t>
            </a:r>
          </a:p>
          <a:p>
            <a:pPr marL="460261" indent="-457086">
              <a:buFont typeface="Arial" pitchFamily="34" charset="0"/>
              <a:buChar char="•"/>
            </a:pPr>
            <a:r>
              <a:rPr lang="en-US" sz="2666"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1589690272"/>
              </p:ext>
            </p:extLst>
          </p:nvPr>
        </p:nvGraphicFramePr>
        <p:xfrm>
          <a:off x="519113" y="1477457"/>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Disk Caching</a:t>
            </a:r>
            <a:endParaRPr lang="en-US" sz="5400" dirty="0"/>
          </a:p>
        </p:txBody>
      </p:sp>
      <p:graphicFrame>
        <p:nvGraphicFramePr>
          <p:cNvPr id="3" name="Table 2"/>
          <p:cNvGraphicFramePr>
            <a:graphicFrameLocks noGrp="1"/>
          </p:cNvGraphicFramePr>
          <p:nvPr>
            <p:extLst>
              <p:ext uri="{D42A27DB-BD31-4B8C-83A1-F6EECF244321}">
                <p14:modId xmlns:p14="http://schemas.microsoft.com/office/powerpoint/2010/main" val="1554742735"/>
              </p:ext>
            </p:extLst>
          </p:nvPr>
        </p:nvGraphicFramePr>
        <p:xfrm>
          <a:off x="1206074"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6486"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solidFill>
                  <a:schemeClr val="bg1"/>
                </a:solidFill>
              </a:rPr>
              <a:t>Modify using Set-AzureOSDisk or Set-AzureDataDisk</a:t>
            </a: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6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4507453" y="1785203"/>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437322" y="1702353"/>
            <a:ext cx="4797287" cy="4025695"/>
          </a:xfrm>
        </p:spPr>
        <p:txBody>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0725"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8316"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noFill/>
        </p:spPr>
      </p:pic>
      <p:sp>
        <p:nvSpPr>
          <p:cNvPr id="68" name="Isosceles Triangle 67"/>
          <p:cNvSpPr/>
          <p:nvPr/>
        </p:nvSpPr>
        <p:spPr bwMode="auto">
          <a:xfrm rot="10800000">
            <a:off x="8435420" y="3231742"/>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23836"/>
            <a:ext cx="857527" cy="857081"/>
          </a:xfrm>
          <a:prstGeom prst="rect">
            <a:avLst/>
          </a:prstGeom>
          <a:noFill/>
        </p:spPr>
      </p:pic>
      <p:grpSp>
        <p:nvGrpSpPr>
          <p:cNvPr id="71" name="Group 70"/>
          <p:cNvGrpSpPr/>
          <p:nvPr/>
        </p:nvGrpSpPr>
        <p:grpSpPr>
          <a:xfrm>
            <a:off x="9870470" y="2629953"/>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104131" y="448108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8" y="448108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104131" y="523984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8" y="523984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225105" y="5402541"/>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4" name="Rectangle 3"/>
          <p:cNvSpPr/>
          <p:nvPr/>
        </p:nvSpPr>
        <p:spPr>
          <a:xfrm>
            <a:off x="510587"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6190"/>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325"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3323" y="2085066"/>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5402" y="2403026"/>
            <a:ext cx="2437930" cy="727727"/>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ystem Center 2012</a:t>
            </a:r>
            <a:endParaRPr lang="en-US" sz="16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3489" y="2131097"/>
            <a:ext cx="2310341" cy="1181726"/>
          </a:xfrm>
          <a:prstGeom prst="rect">
            <a:avLst/>
          </a:prstGeom>
        </p:spPr>
      </p:pic>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169" y="1189177"/>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564" y="5936069"/>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8511" y="2494492"/>
            <a:ext cx="3257691" cy="1513135"/>
          </a:xfrm>
          <a:prstGeom prst="rect">
            <a:avLst/>
          </a:prstGeom>
        </p:spPr>
      </p:pic>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3" name="Text Placeholder 2"/>
          <p:cNvSpPr>
            <a:spLocks noGrp="1"/>
          </p:cNvSpPr>
          <p:nvPr>
            <p:ph type="body" sz="quarter" idx="4294967295"/>
          </p:nvPr>
        </p:nvSpPr>
        <p:spPr>
          <a:xfrm>
            <a:off x="3034597"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latin typeface="+mj-lt"/>
              </a:rPr>
              <a:t>Windows Server 2008 R2</a:t>
            </a:r>
          </a:p>
          <a:p>
            <a:pPr marL="0" indent="0">
              <a:buNone/>
            </a:pPr>
            <a:r>
              <a:rPr lang="en-US" sz="2400" dirty="0">
                <a:solidFill>
                  <a:schemeClr val="tx1"/>
                </a:solidFill>
                <a:latin typeface="+mj-lt"/>
              </a:rPr>
              <a:t>SQL Server </a:t>
            </a:r>
            <a:r>
              <a:rPr lang="en-US" sz="2400" dirty="0" err="1">
                <a:solidFill>
                  <a:schemeClr val="tx1"/>
                </a:solidFill>
                <a:latin typeface="+mj-lt"/>
              </a:rPr>
              <a:t>Eval</a:t>
            </a:r>
            <a:r>
              <a:rPr lang="en-US" sz="2400" dirty="0">
                <a:solidFill>
                  <a:schemeClr val="tx1"/>
                </a:solidFill>
                <a:latin typeface="+mj-lt"/>
              </a:rPr>
              <a:t> 2012</a:t>
            </a:r>
          </a:p>
          <a:p>
            <a:pPr marL="0" indent="0">
              <a:buNone/>
            </a:pPr>
            <a:r>
              <a:rPr lang="en-US" sz="2400" dirty="0">
                <a:solidFill>
                  <a:schemeClr val="tx1"/>
                </a:solidFill>
                <a:latin typeface="+mj-lt"/>
              </a:rPr>
              <a:t>Windows Server 2012</a:t>
            </a:r>
          </a:p>
          <a:p>
            <a:pPr marL="0" indent="0">
              <a:buNone/>
            </a:pPr>
            <a:r>
              <a:rPr lang="en-US" sz="2400" dirty="0" err="1">
                <a:solidFill>
                  <a:schemeClr val="tx1"/>
                </a:solidFill>
                <a:latin typeface="+mj-lt"/>
              </a:rPr>
              <a:t>Biztalk</a:t>
            </a:r>
            <a:r>
              <a:rPr lang="en-US" sz="2400" dirty="0">
                <a:solidFill>
                  <a:schemeClr val="tx1"/>
                </a:solidFill>
                <a:latin typeface="+mj-lt"/>
              </a:rPr>
              <a:t> Server 2013 Beta</a:t>
            </a:r>
          </a:p>
        </p:txBody>
      </p:sp>
      <p:sp>
        <p:nvSpPr>
          <p:cNvPr id="4" name="Text Placeholder 2"/>
          <p:cNvSpPr txBox="1">
            <a:spLocks/>
          </p:cNvSpPr>
          <p:nvPr/>
        </p:nvSpPr>
        <p:spPr>
          <a:xfrm>
            <a:off x="4811520" y="4011387"/>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400" dirty="0" err="1">
                <a:solidFill>
                  <a:schemeClr val="tx1"/>
                </a:solidFill>
                <a:latin typeface="+mj-lt"/>
              </a:rPr>
              <a:t>OpenSUSE</a:t>
            </a:r>
            <a:r>
              <a:rPr lang="en-US" sz="2400" dirty="0">
                <a:solidFill>
                  <a:schemeClr val="tx1"/>
                </a:solidFill>
                <a:latin typeface="+mj-lt"/>
              </a:rPr>
              <a:t> 12.2</a:t>
            </a:r>
          </a:p>
          <a:p>
            <a:r>
              <a:rPr lang="en-US" sz="2400" dirty="0" err="1">
                <a:solidFill>
                  <a:schemeClr val="tx1"/>
                </a:solidFill>
                <a:latin typeface="+mj-lt"/>
              </a:rPr>
              <a:t>CentOS</a:t>
            </a:r>
            <a:r>
              <a:rPr lang="en-US" sz="2400" dirty="0">
                <a:solidFill>
                  <a:schemeClr val="tx1"/>
                </a:solidFill>
                <a:latin typeface="+mj-lt"/>
              </a:rPr>
              <a:t> 6.3</a:t>
            </a:r>
          </a:p>
          <a:p>
            <a:r>
              <a:rPr lang="en-US" sz="2400" dirty="0">
                <a:solidFill>
                  <a:schemeClr val="tx1"/>
                </a:solidFill>
                <a:latin typeface="+mj-lt"/>
              </a:rPr>
              <a:t>Ubuntu 12.04/12.10</a:t>
            </a:r>
          </a:p>
          <a:p>
            <a:r>
              <a:rPr lang="en-US" sz="2400"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7917" y="4326145"/>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7036" y="1354229"/>
            <a:ext cx="2403116" cy="1508400"/>
          </a:xfrm>
          <a:prstGeom prst="rect">
            <a:avLst/>
          </a:prstGeom>
        </p:spPr>
      </p:pic>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630</TotalTime>
  <Words>2649</Words>
  <Application>Microsoft Office PowerPoint</Application>
  <PresentationFormat>Custom</PresentationFormat>
  <Paragraphs>605</Paragraphs>
  <Slides>47</Slides>
  <Notes>39</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47</vt:i4>
      </vt:variant>
    </vt:vector>
  </HeadingPairs>
  <TitlesOfParts>
    <vt:vector size="68" baseType="lpstr">
      <vt:lpstr>Arial</vt:lpstr>
      <vt:lpstr>Calibri</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think-cell Slide</vt:lpstr>
      <vt:lpstr>Windows Azure Virtual Machines</vt:lpstr>
      <vt:lpstr>Agenda</vt:lpstr>
      <vt:lpstr>Windows Azure VMs</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DEMO</vt:lpstr>
      <vt:lpstr>Virtual Machine Availability </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Demo</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Hands-on Lab</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
    Comprehensive presentation that introduces the technical concepts and business value of Windows Azure Virtual Machines and Virtual Networks
by Michael Washammwasham@microsoft.com
</dc:description>
  <cp:lastModifiedBy>David Tesar</cp:lastModifiedBy>
  <cp:revision>710</cp:revision>
  <cp:lastPrinted>2012-06-13T17:37:07Z</cp:lastPrinted>
  <dcterms:created xsi:type="dcterms:W3CDTF">2006-08-16T00:00:00Z</dcterms:created>
  <dcterms:modified xsi:type="dcterms:W3CDTF">2013-03-08T21:17:01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